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ink/ink1.xml" ContentType="application/inkml+xml"/>
  <Override PartName="/ppt/ink/ink2.xml" ContentType="application/inkml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16" r:id="rId2"/>
  </p:sldMasterIdLst>
  <p:notesMasterIdLst>
    <p:notesMasterId r:id="rId30"/>
  </p:notesMasterIdLst>
  <p:sldIdLst>
    <p:sldId id="668" r:id="rId3"/>
    <p:sldId id="704" r:id="rId4"/>
    <p:sldId id="544" r:id="rId5"/>
    <p:sldId id="666" r:id="rId6"/>
    <p:sldId id="676" r:id="rId7"/>
    <p:sldId id="701" r:id="rId8"/>
    <p:sldId id="667" r:id="rId9"/>
    <p:sldId id="677" r:id="rId10"/>
    <p:sldId id="702" r:id="rId11"/>
    <p:sldId id="678" r:id="rId12"/>
    <p:sldId id="691" r:id="rId13"/>
    <p:sldId id="703" r:id="rId14"/>
    <p:sldId id="680" r:id="rId15"/>
    <p:sldId id="692" r:id="rId16"/>
    <p:sldId id="700" r:id="rId17"/>
    <p:sldId id="682" r:id="rId18"/>
    <p:sldId id="693" r:id="rId19"/>
    <p:sldId id="684" r:id="rId20"/>
    <p:sldId id="694" r:id="rId21"/>
    <p:sldId id="699" r:id="rId22"/>
    <p:sldId id="695" r:id="rId23"/>
    <p:sldId id="686" r:id="rId24"/>
    <p:sldId id="698" r:id="rId25"/>
    <p:sldId id="696" r:id="rId26"/>
    <p:sldId id="688" r:id="rId27"/>
    <p:sldId id="697" r:id="rId28"/>
    <p:sldId id="690" r:id="rId2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6347"/>
    <a:srgbClr val="462E82"/>
    <a:srgbClr val="423D67"/>
    <a:srgbClr val="7A70C6"/>
    <a:srgbClr val="B7DC8A"/>
    <a:srgbClr val="F098DD"/>
    <a:srgbClr val="E3D2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592" autoAdjust="0"/>
    <p:restoredTop sz="94660"/>
  </p:normalViewPr>
  <p:slideViewPr>
    <p:cSldViewPr snapToGrid="0">
      <p:cViewPr varScale="1">
        <p:scale>
          <a:sx n="93" d="100"/>
          <a:sy n="93" d="100"/>
        </p:scale>
        <p:origin x="130" y="2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 /><Relationship Id="rId13" Type="http://schemas.openxmlformats.org/officeDocument/2006/relationships/slide" Target="slides/slide11.xml" /><Relationship Id="rId18" Type="http://schemas.openxmlformats.org/officeDocument/2006/relationships/slide" Target="slides/slide16.xml" /><Relationship Id="rId26" Type="http://schemas.openxmlformats.org/officeDocument/2006/relationships/slide" Target="slides/slide24.xml" /><Relationship Id="rId3" Type="http://schemas.openxmlformats.org/officeDocument/2006/relationships/slide" Target="slides/slide1.xml" /><Relationship Id="rId21" Type="http://schemas.openxmlformats.org/officeDocument/2006/relationships/slide" Target="slides/slide19.xml" /><Relationship Id="rId34" Type="http://schemas.openxmlformats.org/officeDocument/2006/relationships/tableStyles" Target="tableStyles.xml" /><Relationship Id="rId7" Type="http://schemas.openxmlformats.org/officeDocument/2006/relationships/slide" Target="slides/slide5.xml" /><Relationship Id="rId12" Type="http://schemas.openxmlformats.org/officeDocument/2006/relationships/slide" Target="slides/slide10.xml" /><Relationship Id="rId17" Type="http://schemas.openxmlformats.org/officeDocument/2006/relationships/slide" Target="slides/slide15.xml" /><Relationship Id="rId25" Type="http://schemas.openxmlformats.org/officeDocument/2006/relationships/slide" Target="slides/slide23.xml" /><Relationship Id="rId33" Type="http://schemas.openxmlformats.org/officeDocument/2006/relationships/theme" Target="theme/theme1.xml" /><Relationship Id="rId2" Type="http://schemas.openxmlformats.org/officeDocument/2006/relationships/slideMaster" Target="slideMasters/slideMaster2.xml" /><Relationship Id="rId16" Type="http://schemas.openxmlformats.org/officeDocument/2006/relationships/slide" Target="slides/slide14.xml" /><Relationship Id="rId20" Type="http://schemas.openxmlformats.org/officeDocument/2006/relationships/slide" Target="slides/slide18.xml" /><Relationship Id="rId29" Type="http://schemas.openxmlformats.org/officeDocument/2006/relationships/slide" Target="slides/slide27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4.xml" /><Relationship Id="rId11" Type="http://schemas.openxmlformats.org/officeDocument/2006/relationships/slide" Target="slides/slide9.xml" /><Relationship Id="rId24" Type="http://schemas.openxmlformats.org/officeDocument/2006/relationships/slide" Target="slides/slide22.xml" /><Relationship Id="rId32" Type="http://schemas.openxmlformats.org/officeDocument/2006/relationships/viewProps" Target="viewProps.xml" /><Relationship Id="rId5" Type="http://schemas.openxmlformats.org/officeDocument/2006/relationships/slide" Target="slides/slide3.xml" /><Relationship Id="rId15" Type="http://schemas.openxmlformats.org/officeDocument/2006/relationships/slide" Target="slides/slide13.xml" /><Relationship Id="rId23" Type="http://schemas.openxmlformats.org/officeDocument/2006/relationships/slide" Target="slides/slide21.xml" /><Relationship Id="rId28" Type="http://schemas.openxmlformats.org/officeDocument/2006/relationships/slide" Target="slides/slide26.xml" /><Relationship Id="rId10" Type="http://schemas.openxmlformats.org/officeDocument/2006/relationships/slide" Target="slides/slide8.xml" /><Relationship Id="rId19" Type="http://schemas.openxmlformats.org/officeDocument/2006/relationships/slide" Target="slides/slide17.xml" /><Relationship Id="rId31" Type="http://schemas.openxmlformats.org/officeDocument/2006/relationships/presProps" Target="presProps.xml" /><Relationship Id="rId4" Type="http://schemas.openxmlformats.org/officeDocument/2006/relationships/slide" Target="slides/slide2.xml" /><Relationship Id="rId9" Type="http://schemas.openxmlformats.org/officeDocument/2006/relationships/slide" Target="slides/slide7.xml" /><Relationship Id="rId14" Type="http://schemas.openxmlformats.org/officeDocument/2006/relationships/slide" Target="slides/slide12.xml" /><Relationship Id="rId22" Type="http://schemas.openxmlformats.org/officeDocument/2006/relationships/slide" Target="slides/slide20.xml" /><Relationship Id="rId27" Type="http://schemas.openxmlformats.org/officeDocument/2006/relationships/slide" Target="slides/slide25.xml" /><Relationship Id="rId30" Type="http://schemas.openxmlformats.org/officeDocument/2006/relationships/notesMaster" Target="notesMasters/notesMaster1.xml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 /><Relationship Id="rId2" Type="http://schemas.microsoft.com/office/2011/relationships/chartColorStyle" Target="colors1.xml" /><Relationship Id="rId1" Type="http://schemas.microsoft.com/office/2011/relationships/chartStyle" Target="style1.xml" 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 /><Relationship Id="rId2" Type="http://schemas.microsoft.com/office/2011/relationships/chartColorStyle" Target="colors2.xml" /><Relationship Id="rId1" Type="http://schemas.microsoft.com/office/2011/relationships/chartStyle" Target="style2.xml" 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 /><Relationship Id="rId2" Type="http://schemas.microsoft.com/office/2011/relationships/chartColorStyle" Target="colors3.xml" /><Relationship Id="rId1" Type="http://schemas.microsoft.com/office/2011/relationships/chartStyle" Target="style3.xml" 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 /><Relationship Id="rId2" Type="http://schemas.microsoft.com/office/2011/relationships/chartColorStyle" Target="colors4.xml" /><Relationship Id="rId1" Type="http://schemas.microsoft.com/office/2011/relationships/chartStyle" Target="style4.xml" 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 /><Relationship Id="rId2" Type="http://schemas.microsoft.com/office/2011/relationships/chartColorStyle" Target="colors5.xml" /><Relationship Id="rId1" Type="http://schemas.microsoft.com/office/2011/relationships/chartStyle" Target="style5.xml" 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 /><Relationship Id="rId2" Type="http://schemas.microsoft.com/office/2011/relationships/chartColorStyle" Target="colors6.xml" /><Relationship Id="rId1" Type="http://schemas.microsoft.com/office/2011/relationships/chartStyle" Target="style6.xml" 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 /><Relationship Id="rId2" Type="http://schemas.microsoft.com/office/2011/relationships/chartColorStyle" Target="colors7.xml" /><Relationship Id="rId1" Type="http://schemas.microsoft.com/office/2011/relationships/chartStyle" Target="style7.xml" 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 /><Relationship Id="rId2" Type="http://schemas.microsoft.com/office/2011/relationships/chartColorStyle" Target="colors8.xml" /><Relationship Id="rId1" Type="http://schemas.microsoft.com/office/2011/relationships/chartStyle" Target="style8.xml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8B9-4EE6-A878-3C9B22E3E237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8B9-4EE6-A878-3C9B22E3E237}"/>
              </c:ext>
            </c:extLst>
          </c:dPt>
          <c:dLbls>
            <c:dLbl>
              <c:idx val="0"/>
              <c:numFmt formatCode="0.0%" sourceLinked="0"/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38B9-4EE6-A878-3C9B22E3E237}"/>
                </c:ext>
              </c:extLst>
            </c:dLbl>
            <c:dLbl>
              <c:idx val="1"/>
              <c:layout>
                <c:manualLayout>
                  <c:x val="7.7868986935159784E-2"/>
                  <c:y val="0.16442827470538948"/>
                </c:manualLayout>
              </c:layout>
              <c:tx>
                <c:rich>
                  <a:bodyPr/>
                  <a:lstStyle/>
                  <a:p>
                    <a:fld id="{2C48C51F-874A-444A-BFE4-26CDE355F2E1}" type="PERCENTAGE">
                      <a:rPr lang="en-US" sz="2800"/>
                      <a:pPr/>
                      <a:t>[ПРОЦЕНТ]</a:t>
                    </a:fld>
                    <a:endParaRPr lang="ru-RU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8B9-4EE6-A878-3C9B22E3E237}"/>
                </c:ext>
              </c:extLst>
            </c:dLbl>
            <c:numFmt formatCode="0.0%" sourceLinked="0"/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83299999999999996</c:v>
                </c:pt>
                <c:pt idx="1">
                  <c:v>0.167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8B9-4EE6-A878-3C9B22E3E237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8B8-467E-8528-F55750F17739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8B8-467E-8528-F55750F1773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BD37D0F-DC76-4D3F-8A87-EB0E2D57A7B0}" type="PERCENTAGE">
                      <a:rPr lang="en-US" sz="2400"/>
                      <a:pPr/>
                      <a:t>[ПРОЦЕНТ]</a:t>
                    </a:fld>
                    <a:endParaRPr lang="ru-RU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8B8-467E-8528-F55750F17739}"/>
                </c:ext>
              </c:extLst>
            </c:dLbl>
            <c:dLbl>
              <c:idx val="1"/>
              <c:layout>
                <c:manualLayout>
                  <c:x val="7.3511830042983714E-2"/>
                  <c:y val="0.17133419651610607"/>
                </c:manualLayout>
              </c:layout>
              <c:numFmt formatCode="0.0%" sourceLinked="0"/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B8-467E-8528-F55750F17739}"/>
                </c:ext>
              </c:extLst>
            </c:dLbl>
            <c:numFmt formatCode="0.0%" sourceLinked="0"/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85799999999999998</c:v>
                </c:pt>
                <c:pt idx="1">
                  <c:v>0.1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B8-467E-8528-F55750F17739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F8B-454B-87BA-9BB54FF51B48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F8B-454B-87BA-9BB54FF51B48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68500000000000005</c:v>
                </c:pt>
                <c:pt idx="1">
                  <c:v>0.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8B-454B-87BA-9BB54FF51B4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8C2-4B17-B6D8-D8CA1732EB0C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8C2-4B17-B6D8-D8CA1732EB0C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66400000000000003</c:v>
                </c:pt>
                <c:pt idx="1">
                  <c:v>0.336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C2-4B17-B6D8-D8CA1732EB0C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80E-456A-AF2F-49CC8AE36263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80E-456A-AF2F-49CC8AE36263}"/>
              </c:ext>
            </c:extLst>
          </c:dPt>
          <c:dLbls>
            <c:dLbl>
              <c:idx val="1"/>
              <c:layout>
                <c:manualLayout>
                  <c:x val="4.1894068117337799E-2"/>
                  <c:y val="0.12386741733232397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80E-456A-AF2F-49CC8AE36263}"/>
                </c:ext>
              </c:extLst>
            </c:dLbl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91900000000000004</c:v>
                </c:pt>
                <c:pt idx="1">
                  <c:v>8.1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80E-456A-AF2F-49CC8AE36263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E4D-4389-823A-5C486FC7E6D8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E4D-4389-823A-5C486FC7E6D8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39</c:v>
                </c:pt>
                <c:pt idx="1">
                  <c:v>0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E4D-4389-823A-5C486FC7E6D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663-440B-B132-FF61478AA7B1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663-440B-B132-FF61478AA7B1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27100000000000002</c:v>
                </c:pt>
                <c:pt idx="1">
                  <c:v>0.728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663-440B-B132-FF61478AA7B1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E03-4BCF-9685-A56C991922F6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7E03-4BCF-9685-A56C991922F6}"/>
              </c:ext>
            </c:extLst>
          </c:dPt>
          <c:dLbls>
            <c:numFmt formatCode="0.0%" sourceLinked="0"/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%</c:formatCode>
                <c:ptCount val="2"/>
                <c:pt idx="0">
                  <c:v>0.35</c:v>
                </c:pt>
                <c:pt idx="1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03-4BCF-9685-A56C991922F6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8T20:05:48.00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1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8T20:05:56.338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 0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23CA0-DC6A-4E22-BDED-7EF65F541CE8}" type="datetimeFigureOut">
              <a:rPr lang="ru-RU" smtClean="0"/>
              <a:t>11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A343DE-2F37-49F6-AB86-5673E47094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0791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A343DE-2F37-49F6-AB86-5673E47094E6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0066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1.xml" 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2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2.xml" 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473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7389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452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392909" y="570"/>
            <a:ext cx="1234533" cy="1028931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592" y="214854"/>
            <a:ext cx="726514" cy="52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442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5604774" y="0"/>
            <a:ext cx="658723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01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9600000" y="7"/>
            <a:ext cx="1090821" cy="859156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0690826" y="7"/>
            <a:ext cx="1501180" cy="8591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0870659" y="141294"/>
            <a:ext cx="1321342" cy="56238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952786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678139" y="7"/>
            <a:ext cx="1090821" cy="859156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768965" y="7"/>
            <a:ext cx="2423041" cy="85915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68966" y="141294"/>
            <a:ext cx="2423041" cy="56238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35396553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297980" y="7"/>
            <a:ext cx="1090821" cy="859156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388805" y="7"/>
            <a:ext cx="2803201" cy="85915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262086" y="141294"/>
            <a:ext cx="2929921" cy="56238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30359481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6049480" y="3103120"/>
            <a:ext cx="6142523" cy="3754887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818879" y="1"/>
            <a:ext cx="2365126" cy="1723951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775369" y="2304461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9981" y="2219066"/>
            <a:ext cx="6473461" cy="362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1754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100628" y="5970126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612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503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566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210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519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3003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9693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3871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6000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000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2076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081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0045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6077248" y="0"/>
            <a:ext cx="611475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114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7131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8095852" y="0"/>
            <a:ext cx="409614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9513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583042" y="-37018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78867" y="-128822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314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592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950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58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459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677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768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18" Type="http://schemas.openxmlformats.org/officeDocument/2006/relationships/theme" Target="../theme/theme1.xml" /><Relationship Id="rId3" Type="http://schemas.openxmlformats.org/officeDocument/2006/relationships/slideLayout" Target="../slideLayouts/slideLayout3.xml" /><Relationship Id="rId21" Type="http://schemas.openxmlformats.org/officeDocument/2006/relationships/oleObject" Target="../embeddings/oleObject1.bin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slideLayout" Target="../slideLayouts/slideLayout17.xml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0" Type="http://schemas.openxmlformats.org/officeDocument/2006/relationships/tags" Target="../tags/tag1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10" Type="http://schemas.openxmlformats.org/officeDocument/2006/relationships/slideLayout" Target="../slideLayouts/slideLayout10.xml" /><Relationship Id="rId19" Type="http://schemas.openxmlformats.org/officeDocument/2006/relationships/vmlDrawing" Target="../drawings/vmlDrawing1.v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Relationship Id="rId22" Type="http://schemas.openxmlformats.org/officeDocument/2006/relationships/image" Target="../media/image1.emf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 /><Relationship Id="rId13" Type="http://schemas.openxmlformats.org/officeDocument/2006/relationships/slideLayout" Target="../slideLayouts/slideLayout30.xml" /><Relationship Id="rId3" Type="http://schemas.openxmlformats.org/officeDocument/2006/relationships/slideLayout" Target="../slideLayouts/slideLayout20.xml" /><Relationship Id="rId7" Type="http://schemas.openxmlformats.org/officeDocument/2006/relationships/slideLayout" Target="../slideLayouts/slideLayout24.xml" /><Relationship Id="rId12" Type="http://schemas.openxmlformats.org/officeDocument/2006/relationships/slideLayout" Target="../slideLayouts/slideLayout29.xml" /><Relationship Id="rId2" Type="http://schemas.openxmlformats.org/officeDocument/2006/relationships/slideLayout" Target="../slideLayouts/slideLayout19.xml" /><Relationship Id="rId1" Type="http://schemas.openxmlformats.org/officeDocument/2006/relationships/slideLayout" Target="../slideLayouts/slideLayout18.xml" /><Relationship Id="rId6" Type="http://schemas.openxmlformats.org/officeDocument/2006/relationships/slideLayout" Target="../slideLayouts/slideLayout23.xml" /><Relationship Id="rId11" Type="http://schemas.openxmlformats.org/officeDocument/2006/relationships/slideLayout" Target="../slideLayouts/slideLayout28.xml" /><Relationship Id="rId5" Type="http://schemas.openxmlformats.org/officeDocument/2006/relationships/slideLayout" Target="../slideLayouts/slideLayout22.xml" /><Relationship Id="rId15" Type="http://schemas.openxmlformats.org/officeDocument/2006/relationships/theme" Target="../theme/theme2.xml" /><Relationship Id="rId10" Type="http://schemas.openxmlformats.org/officeDocument/2006/relationships/slideLayout" Target="../slideLayouts/slideLayout27.xml" /><Relationship Id="rId4" Type="http://schemas.openxmlformats.org/officeDocument/2006/relationships/slideLayout" Target="../slideLayouts/slideLayout21.xml" /><Relationship Id="rId9" Type="http://schemas.openxmlformats.org/officeDocument/2006/relationships/slideLayout" Target="../slideLayouts/slideLayout26.xml" /><Relationship Id="rId14" Type="http://schemas.openxmlformats.org/officeDocument/2006/relationships/slideLayout" Target="../slideLayouts/slideLayout31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1922" y="1515"/>
          <a:ext cx="1920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0F965F44-8AE5-201B-AA20-8EEA05BF5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922" y="1515"/>
                        <a:ext cx="1920" cy="1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8392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hdr="0" dt="0"/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Layout" Target="../slideLayouts/slideLayout29.xml" 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 /><Relationship Id="rId1" Type="http://schemas.openxmlformats.org/officeDocument/2006/relationships/slideLayout" Target="../slideLayouts/slideLayout12.xml" 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 /><Relationship Id="rId2" Type="http://schemas.openxmlformats.org/officeDocument/2006/relationships/image" Target="../media/image16.png" /><Relationship Id="rId1" Type="http://schemas.openxmlformats.org/officeDocument/2006/relationships/slideLayout" Target="../slideLayouts/slideLayout12.xml" 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 /><Relationship Id="rId1" Type="http://schemas.openxmlformats.org/officeDocument/2006/relationships/slideLayout" Target="../slideLayouts/slideLayout12.xml" 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12.xml" /><Relationship Id="rId4" Type="http://schemas.openxmlformats.org/officeDocument/2006/relationships/image" Target="../media/image19.png" 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 /><Relationship Id="rId1" Type="http://schemas.openxmlformats.org/officeDocument/2006/relationships/slideLayout" Target="../slideLayouts/slideLayout12.xml" 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 /><Relationship Id="rId2" Type="http://schemas.openxmlformats.org/officeDocument/2006/relationships/image" Target="../media/image21.png" /><Relationship Id="rId1" Type="http://schemas.openxmlformats.org/officeDocument/2006/relationships/slideLayout" Target="../slideLayouts/slideLayout12.xml" 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 /><Relationship Id="rId1" Type="http://schemas.openxmlformats.org/officeDocument/2006/relationships/slideLayout" Target="../slideLayouts/slideLayout12.xml" 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 /><Relationship Id="rId2" Type="http://schemas.openxmlformats.org/officeDocument/2006/relationships/image" Target="../media/image23.png" /><Relationship Id="rId1" Type="http://schemas.openxmlformats.org/officeDocument/2006/relationships/slideLayout" Target="../slideLayouts/slideLayout12.xml" 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 /><Relationship Id="rId1" Type="http://schemas.openxmlformats.org/officeDocument/2006/relationships/slideLayout" Target="../slideLayouts/slideLayout31.xml" 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 /><Relationship Id="rId1" Type="http://schemas.openxmlformats.org/officeDocument/2006/relationships/slideLayout" Target="../slideLayouts/slideLayout12.xml" 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 /><Relationship Id="rId2" Type="http://schemas.openxmlformats.org/officeDocument/2006/relationships/image" Target="../media/image25.png" /><Relationship Id="rId1" Type="http://schemas.openxmlformats.org/officeDocument/2006/relationships/slideLayout" Target="../slideLayouts/slideLayout12.xml" 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 /><Relationship Id="rId1" Type="http://schemas.openxmlformats.org/officeDocument/2006/relationships/slideLayout" Target="../slideLayouts/slideLayout12.xml" 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 /><Relationship Id="rId2" Type="http://schemas.openxmlformats.org/officeDocument/2006/relationships/image" Target="../media/image27.png" /><Relationship Id="rId1" Type="http://schemas.openxmlformats.org/officeDocument/2006/relationships/slideLayout" Target="../slideLayouts/slideLayout12.xml" 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 /><Relationship Id="rId2" Type="http://schemas.openxmlformats.org/officeDocument/2006/relationships/image" Target="../media/image8.emf" /><Relationship Id="rId1" Type="http://schemas.openxmlformats.org/officeDocument/2006/relationships/slideLayout" Target="../slideLayouts/slideLayout12.xml" /><Relationship Id="rId5" Type="http://schemas.openxmlformats.org/officeDocument/2006/relationships/image" Target="../media/image11.emf" /><Relationship Id="rId4" Type="http://schemas.openxmlformats.org/officeDocument/2006/relationships/image" Target="../media/image10.emf" 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 /><Relationship Id="rId1" Type="http://schemas.openxmlformats.org/officeDocument/2006/relationships/slideLayout" Target="../slideLayouts/slideLayout12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 /><Relationship Id="rId2" Type="http://schemas.openxmlformats.org/officeDocument/2006/relationships/image" Target="../media/image12.png" /><Relationship Id="rId1" Type="http://schemas.openxmlformats.org/officeDocument/2006/relationships/slideLayout" Target="../slideLayouts/slideLayout12.xml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 /><Relationship Id="rId2" Type="http://schemas.openxmlformats.org/officeDocument/2006/relationships/customXml" Target="../ink/ink1.xml" /><Relationship Id="rId1" Type="http://schemas.openxmlformats.org/officeDocument/2006/relationships/slideLayout" Target="../slideLayouts/slideLayout12.xml" /><Relationship Id="rId4" Type="http://schemas.openxmlformats.org/officeDocument/2006/relationships/customXml" Target="../ink/ink2.xml" 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 /><Relationship Id="rId1" Type="http://schemas.openxmlformats.org/officeDocument/2006/relationships/slideLayout" Target="../slideLayouts/slideLayout12.xml" 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 /><Relationship Id="rId2" Type="http://schemas.openxmlformats.org/officeDocument/2006/relationships/image" Target="../media/image14.png" /><Relationship Id="rId1" Type="http://schemas.openxmlformats.org/officeDocument/2006/relationships/slideLayout" Target="../slideLayouts/slideLayout12.xml" 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947352" y="2792297"/>
            <a:ext cx="5885104" cy="13951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pPr defTabSz="829290"/>
            <a:r>
              <a:rPr lang="ru-RU" sz="2822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ЗАБЮРОКРАТИЗИРОВАННОСТИ РЕГИОНОВ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09" y="448891"/>
            <a:ext cx="1370486" cy="1241382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756509" y="4621772"/>
            <a:ext cx="1572575" cy="1465156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endParaRPr lang="ru-RU" sz="1364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EE0F28-7F01-4E1C-93AA-ECC4EC1B15C5}"/>
              </a:ext>
            </a:extLst>
          </p:cNvPr>
          <p:cNvSpPr txBox="1"/>
          <p:nvPr/>
        </p:nvSpPr>
        <p:spPr>
          <a:xfrm>
            <a:off x="2126995" y="5009732"/>
            <a:ext cx="59477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Алтыникова Наталья </a:t>
            </a:r>
            <a:r>
              <a:rPr lang="ru-RU" b="1" dirty="0" err="1"/>
              <a:t>Васильенва</a:t>
            </a:r>
            <a:endParaRPr lang="ru-RU" b="1" dirty="0"/>
          </a:p>
          <a:p>
            <a:r>
              <a:rPr lang="ru-RU" dirty="0"/>
              <a:t>советник руководителя Рособрнадзора,</a:t>
            </a:r>
          </a:p>
          <a:p>
            <a:r>
              <a:rPr lang="ru-RU" dirty="0"/>
              <a:t>директор по развитию ГК «Просвещение»</a:t>
            </a:r>
          </a:p>
        </p:txBody>
      </p:sp>
    </p:spTree>
    <p:extLst>
      <p:ext uri="{BB962C8B-B14F-4D97-AF65-F5344CB8AC3E}">
        <p14:creationId xmlns:p14="http://schemas.microsoft.com/office/powerpoint/2010/main" val="8018069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301579" y="537417"/>
            <a:ext cx="8353168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ВНЕСЕНЫ ЛИ ИЗМЕНЕНИЯ В ДОЛЖНОСТНЫЕ ИНСТРУКЦИИ 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5804C3B4-8107-BAD4-7B77-BBD512BE40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9507293"/>
              </p:ext>
            </p:extLst>
          </p:nvPr>
        </p:nvGraphicFramePr>
        <p:xfrm>
          <a:off x="838200" y="182562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372672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301579" y="537417"/>
            <a:ext cx="8353168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ВНЕСЕНЫ ЛИ ИЗМЕНЕНИЯ В ДОЛЖНОСТНЫЕ ИНСТРУКЦИИ ? </a:t>
            </a:r>
          </a:p>
        </p:txBody>
      </p:sp>
      <p:pic>
        <p:nvPicPr>
          <p:cNvPr id="3" name="Объект 3">
            <a:extLst>
              <a:ext uri="{FF2B5EF4-FFF2-40B4-BE49-F238E27FC236}">
                <a16:creationId xmlns:a16="http://schemas.microsoft.com/office/drawing/2014/main" id="{24101031-4893-E99B-9402-505BE2438D1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6519" y="1812324"/>
            <a:ext cx="12116015" cy="5045676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7C21854-83E7-42F5-B5CA-1E1579F4A8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2429" y="4676783"/>
            <a:ext cx="1971502" cy="209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311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859184"/>
              </p:ext>
            </p:extLst>
          </p:nvPr>
        </p:nvGraphicFramePr>
        <p:xfrm>
          <a:off x="1342769" y="1609352"/>
          <a:ext cx="8406132" cy="415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915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282217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котский автономный округ (0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г. Моск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Пенз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Аму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Мурм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рым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Мордов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7AB1656-2519-E27B-4A54-8D7531696928}"/>
              </a:ext>
            </a:extLst>
          </p:cNvPr>
          <p:cNvSpPr txBox="1"/>
          <p:nvPr/>
        </p:nvSpPr>
        <p:spPr>
          <a:xfrm>
            <a:off x="1301579" y="537417"/>
            <a:ext cx="8353168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ВНЕСЕНЫ ЛИ ИЗМЕНЕНИЯ В ДОЛЖНОСТНЫЕ ИНСТРУКЦИИ ? </a:t>
            </a:r>
          </a:p>
        </p:txBody>
      </p:sp>
    </p:spTree>
    <p:extLst>
      <p:ext uri="{BB962C8B-B14F-4D97-AF65-F5344CB8AC3E}">
        <p14:creationId xmlns:p14="http://schemas.microsoft.com/office/powerpoint/2010/main" val="38780706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268627" y="537417"/>
            <a:ext cx="874858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ИНЫЕ ДОКУМЕНТЫ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FD2D0B62-80C5-CD32-CAFD-B4C9025EFC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528910"/>
              </p:ext>
            </p:extLst>
          </p:nvPr>
        </p:nvGraphicFramePr>
        <p:xfrm>
          <a:off x="838200" y="182562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170660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268627" y="537417"/>
            <a:ext cx="874858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ИНЫЕ ДОКУМЕНТЫ? </a:t>
            </a:r>
          </a:p>
        </p:txBody>
      </p:sp>
      <p:pic>
        <p:nvPicPr>
          <p:cNvPr id="3" name="Объект 4">
            <a:extLst>
              <a:ext uri="{FF2B5EF4-FFF2-40B4-BE49-F238E27FC236}">
                <a16:creationId xmlns:a16="http://schemas.microsoft.com/office/drawing/2014/main" id="{3825047E-46BF-CB3F-80E5-E1469A442F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6645" y="1566472"/>
            <a:ext cx="12130498" cy="4754111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569B716-2E40-CE1B-0485-8CD55BC8F9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415" y="4757137"/>
            <a:ext cx="1506386" cy="1563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466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529761"/>
              </p:ext>
            </p:extLst>
          </p:nvPr>
        </p:nvGraphicFramePr>
        <p:xfrm>
          <a:off x="1341120" y="1609352"/>
          <a:ext cx="8407781" cy="489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5564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282217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кот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Башкорто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Кабардино-Балкарская Республик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алмык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олгоград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Забайкаль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Новосиби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Оренбург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юм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3480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Ханты-Мансий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680435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63ED765-E86F-2A16-1C67-09960FFC605A}"/>
              </a:ext>
            </a:extLst>
          </p:cNvPr>
          <p:cNvSpPr txBox="1"/>
          <p:nvPr/>
        </p:nvSpPr>
        <p:spPr>
          <a:xfrm>
            <a:off x="1268627" y="537417"/>
            <a:ext cx="874858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ИНЫЕ ДОКУМЕНТЫ? </a:t>
            </a:r>
          </a:p>
        </p:txBody>
      </p:sp>
    </p:spTree>
    <p:extLst>
      <p:ext uri="{BB962C8B-B14F-4D97-AF65-F5344CB8AC3E}">
        <p14:creationId xmlns:p14="http://schemas.microsoft.com/office/powerpoint/2010/main" val="33673020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85419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ФОТООЧЕТЫ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1A7B879D-CF53-B266-9E15-94883EC56A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0088148"/>
              </p:ext>
            </p:extLst>
          </p:nvPr>
        </p:nvGraphicFramePr>
        <p:xfrm>
          <a:off x="838200" y="182562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513762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85419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ФОТООЧЕТЫ? </a:t>
            </a:r>
          </a:p>
        </p:txBody>
      </p:sp>
      <p:pic>
        <p:nvPicPr>
          <p:cNvPr id="3" name="Объект 2">
            <a:extLst>
              <a:ext uri="{FF2B5EF4-FFF2-40B4-BE49-F238E27FC236}">
                <a16:creationId xmlns:a16="http://schemas.microsoft.com/office/drawing/2014/main" id="{13ED5351-4BC0-0EFB-FBA7-AD1C2C281BC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4360" y="1693553"/>
            <a:ext cx="12200095" cy="4917312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3B45FD5-8B8E-0965-D71D-BC69C8292F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4919" y="4695615"/>
            <a:ext cx="1652231" cy="177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788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ЗАПОЛНЯТЬ БУМАЖНЫЙ И ЭЛЕКТРОННЫЙ ЖУРНАЛ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1F6024A2-85BB-D069-6C53-918497E6E6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4071925"/>
              </p:ext>
            </p:extLst>
          </p:nvPr>
        </p:nvGraphicFramePr>
        <p:xfrm>
          <a:off x="609600" y="1825625"/>
          <a:ext cx="10956324" cy="4723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666874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ЗАПОЛНЯТЬ БУМАЖНЫЙ И ЭЛЕКТРОННЫЙ ЖУРНАЛ? </a:t>
            </a:r>
          </a:p>
        </p:txBody>
      </p:sp>
      <p:pic>
        <p:nvPicPr>
          <p:cNvPr id="3" name="Объект 4">
            <a:extLst>
              <a:ext uri="{FF2B5EF4-FFF2-40B4-BE49-F238E27FC236}">
                <a16:creationId xmlns:a16="http://schemas.microsoft.com/office/drawing/2014/main" id="{113742F4-1A68-7BB1-A0F8-645C4A19A35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3335" y="1845276"/>
            <a:ext cx="11821744" cy="490151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4990D87-08B5-8771-1E58-8818160574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98293" y="4738088"/>
            <a:ext cx="1555508" cy="163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277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456390" y="322535"/>
            <a:ext cx="7279220" cy="882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ИОРИТЕТ ПРАВИТЕЛЬСТВА РОССИЙСКОЙ ФЕДЕРАЦИИ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B5EE2F4-D581-7231-47AD-91D5EF9383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6390" y="1562442"/>
            <a:ext cx="6006926" cy="3477694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67E325A-DC44-A4C1-E574-5BF504BA3FF2}"/>
              </a:ext>
            </a:extLst>
          </p:cNvPr>
          <p:cNvSpPr/>
          <p:nvPr/>
        </p:nvSpPr>
        <p:spPr>
          <a:xfrm>
            <a:off x="2456390" y="5550987"/>
            <a:ext cx="6006926" cy="984479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309" b="1" dirty="0">
                <a:solidFill>
                  <a:schemeClr val="tx1"/>
                </a:solidFill>
              </a:rPr>
              <a:t>Снижение бюрократической нагрузки </a:t>
            </a:r>
          </a:p>
          <a:p>
            <a:pPr algn="ctr"/>
            <a:r>
              <a:rPr lang="ru-RU" sz="2309" b="1" dirty="0">
                <a:solidFill>
                  <a:schemeClr val="tx1"/>
                </a:solidFill>
              </a:rPr>
              <a:t>на всех уровнях образования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9BF7C0-C561-C5D0-F921-D96D49F23B2B}"/>
              </a:ext>
            </a:extLst>
          </p:cNvPr>
          <p:cNvSpPr txBox="1"/>
          <p:nvPr/>
        </p:nvSpPr>
        <p:spPr>
          <a:xfrm>
            <a:off x="8647670" y="2374727"/>
            <a:ext cx="342076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423D67"/>
                </a:solidFill>
              </a:rPr>
              <a:t>поручение Председателя Правительства Российской Федерации М.В. Мишустина </a:t>
            </a:r>
          </a:p>
          <a:p>
            <a:r>
              <a:rPr lang="ru-RU" sz="1800" b="1" dirty="0">
                <a:solidFill>
                  <a:srgbClr val="423D67"/>
                </a:solidFill>
              </a:rPr>
              <a:t>от 30.03.2023 № ММ-П8-4473 </a:t>
            </a:r>
          </a:p>
        </p:txBody>
      </p:sp>
    </p:spTree>
    <p:extLst>
      <p:ext uri="{BB962C8B-B14F-4D97-AF65-F5344CB8AC3E}">
        <p14:creationId xmlns:p14="http://schemas.microsoft.com/office/powerpoint/2010/main" val="7235821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3188656"/>
              </p:ext>
            </p:extLst>
          </p:nvPr>
        </p:nvGraphicFramePr>
        <p:xfrm>
          <a:off x="1342769" y="1609352"/>
          <a:ext cx="8406132" cy="415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915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282217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Псков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арачаево-Черкес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г. Санкт-Петербур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Магад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Нижегород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ург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Новосиби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Мордов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Белгород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Ханты-Мансийский А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таврополь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мол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BB412DD-0386-5E5C-9FFF-BA6809CCA3EB}"/>
              </a:ext>
            </a:extLst>
          </p:cNvPr>
          <p:cNvSpPr txBox="1"/>
          <p:nvPr/>
        </p:nvSpPr>
        <p:spPr>
          <a:xfrm>
            <a:off x="1232137" y="290282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ЗАПОЛНЯТЬ БУМАЖНЫЙ И ЭЛЕКТРОННЫЙ ЖУРНАЛ? </a:t>
            </a:r>
          </a:p>
        </p:txBody>
      </p:sp>
    </p:spTree>
    <p:extLst>
      <p:ext uri="{BB962C8B-B14F-4D97-AF65-F5344CB8AC3E}">
        <p14:creationId xmlns:p14="http://schemas.microsoft.com/office/powerpoint/2010/main" val="12723486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</a:t>
            </a:r>
            <a:r>
              <a:rPr lang="en-US" sz="2566" b="1" dirty="0">
                <a:solidFill>
                  <a:srgbClr val="423D67"/>
                </a:solidFill>
                <a:latin typeface="Arial" panose="020B0604020202020204"/>
              </a:rPr>
              <a:t>/2023 </a:t>
            </a:r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УЧЕБНОМ ГОДУ? 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7F9009CF-6B62-5B25-E57E-6378CFE14A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4241972"/>
              </p:ext>
            </p:extLst>
          </p:nvPr>
        </p:nvGraphicFramePr>
        <p:xfrm>
          <a:off x="782595" y="1825625"/>
          <a:ext cx="10783329" cy="4494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04889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</a:t>
            </a:r>
            <a:r>
              <a:rPr lang="en-US" sz="2566" b="1" dirty="0">
                <a:solidFill>
                  <a:srgbClr val="423D67"/>
                </a:solidFill>
                <a:latin typeface="Arial" panose="020B0604020202020204"/>
              </a:rPr>
              <a:t>/2023 </a:t>
            </a:r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УЧЕБНОМ ГОДУ?  </a:t>
            </a:r>
          </a:p>
        </p:txBody>
      </p:sp>
      <p:pic>
        <p:nvPicPr>
          <p:cNvPr id="3" name="Объект 4">
            <a:extLst>
              <a:ext uri="{FF2B5EF4-FFF2-40B4-BE49-F238E27FC236}">
                <a16:creationId xmlns:a16="http://schemas.microsoft.com/office/drawing/2014/main" id="{4A9FE331-18CF-E676-0435-B26E64B136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865" y="1940689"/>
            <a:ext cx="12221637" cy="478983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D483FBF-75CC-2304-8A2B-E940851EC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4593" y="4695208"/>
            <a:ext cx="1659207" cy="179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953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422999"/>
              </p:ext>
            </p:extLst>
          </p:nvPr>
        </p:nvGraphicFramePr>
        <p:xfrm>
          <a:off x="1342768" y="1609352"/>
          <a:ext cx="9201663" cy="489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14190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687473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кот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оронеж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Иркут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иров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ург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ермский кра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Алт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Марий Э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ваш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322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остов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99797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A2466EA-36FE-5F03-1A8D-E46C553C47D2}"/>
              </a:ext>
            </a:extLst>
          </p:cNvPr>
          <p:cNvSpPr txBox="1"/>
          <p:nvPr/>
        </p:nvSpPr>
        <p:spPr>
          <a:xfrm>
            <a:off x="1866451" y="351528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</a:t>
            </a:r>
            <a:r>
              <a:rPr lang="en-US" sz="2566" b="1" dirty="0">
                <a:solidFill>
                  <a:srgbClr val="423D67"/>
                </a:solidFill>
                <a:latin typeface="Arial" panose="020B0604020202020204"/>
              </a:rPr>
              <a:t>/2023 </a:t>
            </a:r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УЧЕБНОМ ГОДУ?  </a:t>
            </a:r>
          </a:p>
        </p:txBody>
      </p:sp>
    </p:spTree>
    <p:extLst>
      <p:ext uri="{BB962C8B-B14F-4D97-AF65-F5344CB8AC3E}">
        <p14:creationId xmlns:p14="http://schemas.microsoft.com/office/powerpoint/2010/main" val="9344842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721708" y="537417"/>
            <a:ext cx="8435545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ОЗДАНА ЛИ В РЕГИОНЕ «ГОРЯЧАЯ ЛИНИЯ» ? </a:t>
            </a:r>
          </a:p>
        </p:txBody>
      </p:sp>
      <p:graphicFrame>
        <p:nvGraphicFramePr>
          <p:cNvPr id="4" name="Объект 6">
            <a:extLst>
              <a:ext uri="{FF2B5EF4-FFF2-40B4-BE49-F238E27FC236}">
                <a16:creationId xmlns:a16="http://schemas.microsoft.com/office/drawing/2014/main" id="{66FFEDDB-3022-FCD9-B316-BBB149672E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837286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558568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721708" y="537417"/>
            <a:ext cx="8435545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ОЗДАНА ЛИ В РЕГИОНЕ «ГОРЯЧАЯ ЛИНИЯ» ? </a:t>
            </a:r>
          </a:p>
        </p:txBody>
      </p:sp>
      <p:pic>
        <p:nvPicPr>
          <p:cNvPr id="6" name="Объект 6">
            <a:extLst>
              <a:ext uri="{FF2B5EF4-FFF2-40B4-BE49-F238E27FC236}">
                <a16:creationId xmlns:a16="http://schemas.microsoft.com/office/drawing/2014/main" id="{517D0DEA-8300-63D0-5592-565C172E0E4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55601" y="1276864"/>
            <a:ext cx="12643947" cy="524750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309BE33-393B-3785-4E87-7FE5203EC0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6657" y="4766661"/>
            <a:ext cx="1626054" cy="1675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3398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6745350"/>
              </p:ext>
            </p:extLst>
          </p:nvPr>
        </p:nvGraphicFramePr>
        <p:xfrm>
          <a:off x="1342768" y="1609352"/>
          <a:ext cx="9349945" cy="41837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86935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763010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90976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амчат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404339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Пенз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ург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Забайкаль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Еврейская автономн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алмык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ом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Ингушет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7869943-36C4-5522-DCE8-4F21C49CE7E3}"/>
              </a:ext>
            </a:extLst>
          </p:cNvPr>
          <p:cNvSpPr txBox="1"/>
          <p:nvPr/>
        </p:nvSpPr>
        <p:spPr>
          <a:xfrm>
            <a:off x="1721708" y="537417"/>
            <a:ext cx="8435545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ОЗДАНА ЛИ В РЕГИОНЕ «ГОРЯЧАЯ ЛИНИЯ» ? </a:t>
            </a:r>
          </a:p>
        </p:txBody>
      </p:sp>
    </p:spTree>
    <p:extLst>
      <p:ext uri="{BB962C8B-B14F-4D97-AF65-F5344CB8AC3E}">
        <p14:creationId xmlns:p14="http://schemas.microsoft.com/office/powerpoint/2010/main" val="16892031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 ОБЩИЕ РЕЗУЛЬТАТЫ  </a:t>
            </a:r>
          </a:p>
        </p:txBody>
      </p:sp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226276"/>
              </p:ext>
            </p:extLst>
          </p:nvPr>
        </p:nvGraphicFramePr>
        <p:xfrm>
          <a:off x="1342768" y="1609351"/>
          <a:ext cx="9514701" cy="44008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7761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846940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1010281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Пензенская област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87303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153583" y="286950"/>
            <a:ext cx="6378190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200" b="1" dirty="0">
                <a:solidFill>
                  <a:srgbClr val="423D67"/>
                </a:solidFill>
              </a:rPr>
              <a:t>О МОНИТОРИНГЕ 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0E01523-83CB-F808-6E9B-587BD67F8D10}"/>
              </a:ext>
            </a:extLst>
          </p:cNvPr>
          <p:cNvSpPr/>
          <p:nvPr/>
        </p:nvSpPr>
        <p:spPr>
          <a:xfrm>
            <a:off x="952356" y="1767732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964B84D-2D94-EA3D-464D-D456A751E08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383148" y="2110496"/>
            <a:ext cx="501756" cy="6778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6DC1D22-480E-7B83-0810-FDD354118457}"/>
              </a:ext>
            </a:extLst>
          </p:cNvPr>
          <p:cNvSpPr txBox="1"/>
          <p:nvPr/>
        </p:nvSpPr>
        <p:spPr>
          <a:xfrm>
            <a:off x="2389950" y="2218567"/>
            <a:ext cx="37024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462E82"/>
                </a:solidFill>
              </a:rPr>
              <a:t>СФЕРУМ</a:t>
            </a:r>
            <a:r>
              <a:rPr lang="en-US" sz="2000" dirty="0">
                <a:solidFill>
                  <a:srgbClr val="462E82"/>
                </a:solidFill>
              </a:rPr>
              <a:t>/VK </a:t>
            </a:r>
            <a:r>
              <a:rPr lang="ru-RU" sz="2000" dirty="0">
                <a:solidFill>
                  <a:srgbClr val="462E82"/>
                </a:solidFill>
              </a:rPr>
              <a:t>МЕССЕНДЖЕР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F9F2CA0-C08C-B8D6-0208-0F309BA84362}"/>
              </a:ext>
            </a:extLst>
          </p:cNvPr>
          <p:cNvSpPr/>
          <p:nvPr/>
        </p:nvSpPr>
        <p:spPr>
          <a:xfrm>
            <a:off x="952356" y="3388023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B84D5A-90D9-041D-76AD-9C4BCDCF61E2}"/>
              </a:ext>
            </a:extLst>
          </p:cNvPr>
          <p:cNvSpPr txBox="1"/>
          <p:nvPr/>
        </p:nvSpPr>
        <p:spPr>
          <a:xfrm>
            <a:off x="2746489" y="3681494"/>
            <a:ext cx="19874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>
                <a:solidFill>
                  <a:srgbClr val="462E82"/>
                </a:solidFill>
              </a:rPr>
              <a:t>8</a:t>
            </a:r>
            <a:r>
              <a:rPr lang="ru-RU" sz="2400" dirty="0">
                <a:solidFill>
                  <a:srgbClr val="462E82"/>
                </a:solidFill>
              </a:rPr>
              <a:t> </a:t>
            </a:r>
            <a:r>
              <a:rPr lang="ru-RU" sz="2000" dirty="0">
                <a:solidFill>
                  <a:srgbClr val="462E82"/>
                </a:solidFill>
              </a:rPr>
              <a:t>ВОПРОС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E19D93D-AF7C-351D-7F2E-F4DD37C3331F}"/>
              </a:ext>
            </a:extLst>
          </p:cNvPr>
          <p:cNvSpPr/>
          <p:nvPr/>
        </p:nvSpPr>
        <p:spPr>
          <a:xfrm>
            <a:off x="6533491" y="1767730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C622744-DAEF-DA3B-2758-F1F28F7AC861}"/>
              </a:ext>
            </a:extLst>
          </p:cNvPr>
          <p:cNvSpPr/>
          <p:nvPr/>
        </p:nvSpPr>
        <p:spPr>
          <a:xfrm>
            <a:off x="6533491" y="3388022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27296D-535F-ABC5-DA27-EEECB12C82B6}"/>
              </a:ext>
            </a:extLst>
          </p:cNvPr>
          <p:cNvSpPr txBox="1"/>
          <p:nvPr/>
        </p:nvSpPr>
        <p:spPr>
          <a:xfrm>
            <a:off x="8237560" y="2018162"/>
            <a:ext cx="27372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>
                <a:solidFill>
                  <a:srgbClr val="462E82"/>
                </a:solidFill>
              </a:rPr>
              <a:t>89</a:t>
            </a:r>
            <a:r>
              <a:rPr lang="ru-RU" dirty="0">
                <a:solidFill>
                  <a:srgbClr val="462E82"/>
                </a:solidFill>
              </a:rPr>
              <a:t> </a:t>
            </a:r>
            <a:r>
              <a:rPr lang="ru-RU" sz="2000" dirty="0">
                <a:solidFill>
                  <a:srgbClr val="462E82"/>
                </a:solidFill>
              </a:rPr>
              <a:t>СУБЪЕКТОВ РФ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55DA9C-352D-F4EE-63AB-E0F246250999}"/>
              </a:ext>
            </a:extLst>
          </p:cNvPr>
          <p:cNvSpPr txBox="1"/>
          <p:nvPr/>
        </p:nvSpPr>
        <p:spPr>
          <a:xfrm flipH="1">
            <a:off x="8389824" y="3681494"/>
            <a:ext cx="3587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462E82"/>
                </a:solidFill>
              </a:rPr>
              <a:t>35 599 </a:t>
            </a:r>
            <a:r>
              <a:rPr lang="ru-RU" sz="2000" dirty="0">
                <a:solidFill>
                  <a:srgbClr val="462E82"/>
                </a:solidFill>
              </a:rPr>
              <a:t>УЧИТЕЛЕЙ</a:t>
            </a:r>
            <a:r>
              <a:rPr lang="ru-RU" sz="2000" dirty="0"/>
              <a:t>	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6700D8-2A6E-A76B-A7FE-7540F2C6DB0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322386" y="3830595"/>
            <a:ext cx="623279" cy="60047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1553F57-9E35-BD13-8BAF-0006941B3E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6239" y="3681494"/>
            <a:ext cx="647357" cy="749571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A46E293-13CA-7E64-7DA5-F83266157D4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828143" y="2110496"/>
            <a:ext cx="777903" cy="62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7168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ОПРАВКАМИ В 273 ФЗ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156F3FFE-2411-D456-1E36-7EB69B5654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5548703"/>
              </p:ext>
            </p:extLst>
          </p:nvPr>
        </p:nvGraphicFramePr>
        <p:xfrm>
          <a:off x="286265" y="196924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39168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6002" y="1732455"/>
            <a:ext cx="12594000" cy="49357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ОПРАВКАМИ В 273 ФЗ?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A5042B9-6D29-E471-52D1-0E232E7FC6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00735" y="4434476"/>
            <a:ext cx="1794311" cy="1892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4881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778969"/>
              </p:ext>
            </p:extLst>
          </p:nvPr>
        </p:nvGraphicFramePr>
        <p:xfrm>
          <a:off x="1342768" y="1609351"/>
          <a:ext cx="9766666" cy="434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1371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975295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66697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Магад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r>
                        <a:rPr lang="ru-RU" dirty="0"/>
                        <a:t>Пенз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497688">
                <a:tc>
                  <a:txBody>
                    <a:bodyPr/>
                    <a:lstStyle/>
                    <a:p>
                      <a:r>
                        <a:rPr lang="ru-RU" dirty="0"/>
                        <a:t>Липец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Ингушет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ечен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юм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Алт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ерм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741709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0906586-68C0-6FA8-4F44-689EEBEC2CE6}"/>
              </a:ext>
            </a:extLst>
          </p:cNvPr>
          <p:cNvSpPr txBox="1"/>
          <p:nvPr/>
        </p:nvSpPr>
        <p:spPr>
          <a:xfrm>
            <a:off x="2513121" y="6898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ОПРАВКАМИ В 273 ФЗ? 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5" name="Рукописный ввод 4">
                <a:extLst>
                  <a:ext uri="{FF2B5EF4-FFF2-40B4-BE49-F238E27FC236}">
                    <a16:creationId xmlns:a16="http://schemas.microsoft.com/office/drawing/2014/main" id="{3CC15041-D415-8939-6F50-135103305838}"/>
                  </a:ext>
                </a:extLst>
              </p14:cNvPr>
              <p14:cNvContentPartPr/>
              <p14:nvPr/>
            </p14:nvContentPartPr>
            <p14:xfrm>
              <a:off x="1894245" y="2849942"/>
              <a:ext cx="360" cy="360"/>
            </p14:xfrm>
          </p:contentPart>
        </mc:Choice>
        <mc:Fallback xmlns="">
          <p:pic>
            <p:nvPicPr>
              <p:cNvPr id="5" name="Рукописный ввод 4">
                <a:extLst>
                  <a:ext uri="{FF2B5EF4-FFF2-40B4-BE49-F238E27FC236}">
                    <a16:creationId xmlns:a16="http://schemas.microsoft.com/office/drawing/2014/main" id="{3CC15041-D415-8939-6F50-135103305838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889925" y="2845622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" name="Рукописный ввод 5">
                <a:extLst>
                  <a:ext uri="{FF2B5EF4-FFF2-40B4-BE49-F238E27FC236}">
                    <a16:creationId xmlns:a16="http://schemas.microsoft.com/office/drawing/2014/main" id="{7A7D1DEE-11BF-8E94-3701-4646F6B177AA}"/>
                  </a:ext>
                </a:extLst>
              </p14:cNvPr>
              <p14:cNvContentPartPr/>
              <p14:nvPr/>
            </p14:nvContentPartPr>
            <p14:xfrm>
              <a:off x="2808645" y="2644382"/>
              <a:ext cx="360" cy="360"/>
            </p14:xfrm>
          </p:contentPart>
        </mc:Choice>
        <mc:Fallback xmlns="">
          <p:pic>
            <p:nvPicPr>
              <p:cNvPr id="6" name="Рукописный ввод 5">
                <a:extLst>
                  <a:ext uri="{FF2B5EF4-FFF2-40B4-BE49-F238E27FC236}">
                    <a16:creationId xmlns:a16="http://schemas.microsoft.com/office/drawing/2014/main" id="{7A7D1DEE-11BF-8E94-3701-4646F6B177A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804325" y="2640062"/>
                <a:ext cx="9000" cy="9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5782184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BBBF21D-960E-7F54-A933-4866385C2798}"/>
              </a:ext>
            </a:extLst>
          </p:cNvPr>
          <p:cNvSpPr txBox="1"/>
          <p:nvPr/>
        </p:nvSpPr>
        <p:spPr>
          <a:xfrm>
            <a:off x="1062681" y="424109"/>
            <a:ext cx="957236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РИКАЗОМ МИНПРОСВЕЩЕНИЯ №582 ? </a:t>
            </a:r>
          </a:p>
        </p:txBody>
      </p:sp>
      <p:graphicFrame>
        <p:nvGraphicFramePr>
          <p:cNvPr id="3" name="Объект 6">
            <a:extLst>
              <a:ext uri="{FF2B5EF4-FFF2-40B4-BE49-F238E27FC236}">
                <a16:creationId xmlns:a16="http://schemas.microsoft.com/office/drawing/2014/main" id="{07B12520-71D8-3836-7352-63E344217A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477671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590181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3888" y="1707655"/>
            <a:ext cx="12605506" cy="49402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BBBF21D-960E-7F54-A933-4866385C2798}"/>
              </a:ext>
            </a:extLst>
          </p:cNvPr>
          <p:cNvSpPr txBox="1"/>
          <p:nvPr/>
        </p:nvSpPr>
        <p:spPr>
          <a:xfrm>
            <a:off x="1062681" y="424109"/>
            <a:ext cx="957236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РИКАЗОМ МИНПРОСВЕЩЕНИЯ №582 ?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1CD4BEF-1528-5A56-B6D2-7530A21305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70473" y="4788803"/>
            <a:ext cx="1689274" cy="1793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168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929097"/>
              </p:ext>
            </p:extLst>
          </p:nvPr>
        </p:nvGraphicFramePr>
        <p:xfrm>
          <a:off x="1011266" y="1137178"/>
          <a:ext cx="10169468" cy="5183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88980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5180488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661144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г. Севастопол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г. Моск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Пензенская област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Еврей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493341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амчат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Аму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ерм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Астрах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Алт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арел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7399247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юм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685873"/>
                  </a:ext>
                </a:extLst>
              </a:tr>
              <a:tr h="13127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Удмурт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16418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7E2E6AC-6BB2-EA3D-3E84-25A24E7D49E6}"/>
              </a:ext>
            </a:extLst>
          </p:cNvPr>
          <p:cNvSpPr txBox="1"/>
          <p:nvPr/>
        </p:nvSpPr>
        <p:spPr>
          <a:xfrm>
            <a:off x="1062681" y="424109"/>
            <a:ext cx="957236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РИКАЗОМ МИНПРОСВЕЩЕНИЯ №582 ? </a:t>
            </a:r>
          </a:p>
        </p:txBody>
      </p:sp>
    </p:spTree>
    <p:extLst>
      <p:ext uri="{BB962C8B-B14F-4D97-AF65-F5344CB8AC3E}">
        <p14:creationId xmlns:p14="http://schemas.microsoft.com/office/powerpoint/2010/main" val="1401581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Рамка</Template>
  <TotalTime>6490</TotalTime>
  <Words>506</Words>
  <Application>Microsoft Office PowerPoint</Application>
  <PresentationFormat>Широкоэкранный</PresentationFormat>
  <Paragraphs>159</Paragraphs>
  <Slides>27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7</vt:i4>
      </vt:variant>
    </vt:vector>
  </HeadingPairs>
  <TitlesOfParts>
    <vt:vector size="29" baseType="lpstr">
      <vt:lpstr>1_Тема Office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общенные результаты апробации аккредитационного мониторинга</dc:title>
  <dc:creator>Наталья Алтыникова</dc:creator>
  <cp:lastModifiedBy>Анна Маханова</cp:lastModifiedBy>
  <cp:revision>42</cp:revision>
  <dcterms:created xsi:type="dcterms:W3CDTF">2022-09-25T11:38:47Z</dcterms:created>
  <dcterms:modified xsi:type="dcterms:W3CDTF">2023-07-11T08:58:45Z</dcterms:modified>
</cp:coreProperties>
</file>